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4414" r:id="rId4"/>
  </p:sldMasterIdLst>
  <p:notesMasterIdLst>
    <p:notesMasterId r:id="rId8"/>
  </p:notesMasterIdLst>
  <p:sldIdLst>
    <p:sldId id="2134960571" r:id="rId5"/>
    <p:sldId id="2134960572" r:id="rId6"/>
    <p:sldId id="2134960573" r:id="rId7"/>
  </p:sldIdLst>
  <p:sldSz cx="12192000" cy="6858000"/>
  <p:notesSz cx="6858000" cy="9144000"/>
  <p:embeddedFontLst>
    <p:embeddedFont>
      <p:font typeface="Source Sans Pro" panose="020B0503030403020204" pitchFamily="34" charset="0"/>
      <p:regular r:id="rId9"/>
      <p:bold r:id="rId10"/>
      <p:italic r:id="rId11"/>
      <p:boldItalic r:id="rId12"/>
    </p:embeddedFont>
  </p:embeddedFontLst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3576" userDrawn="1">
          <p15:clr>
            <a:srgbClr val="A4A3A4"/>
          </p15:clr>
        </p15:guide>
        <p15:guide id="3" pos="384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31C1C09-5B27-E7B9-E0C2-1C15196A4281}" name="Purwar, Sachin" initials="PS" userId="S::sachin.purwar@syneoshealth.com::b2b48672-420c-4664-b02c-063cc86fe2eb" providerId="AD"/>
  <p188:author id="{C4F1A01B-E2CD-E750-5580-86C9B9074C38}" name="Simberg, Gideon" initials="SG" userId="S::gideon.simberg@syneoshealth.com::79b0e029-96f5-4e43-ba80-2ac5a8ec9faf" providerId="AD"/>
  <p188:author id="{83CD4C3B-3694-AD72-C6E0-2F409E820BF3}" name="Sgualdino, Jacopo" initials="SJ" userId="S::jacopo.sgualdino@syneoshealth.com::991a77d0-b956-48a5-8dbd-51e0f5190386" providerId="AD"/>
  <p188:author id="{F2BBC5EC-6CC0-9411-51FB-EEA4AB3C7C81}" name="Laundon, George" initials="LG" userId="S::george.laundon@syneoshealth.com::b397a5f5-db60-4f87-9bed-0dcf51d1673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ondono, Marcos" initials="LM" lastIdx="1" clrIdx="0">
    <p:extLst>
      <p:ext uri="{19B8F6BF-5375-455C-9EA6-DF929625EA0E}">
        <p15:presenceInfo xmlns:p15="http://schemas.microsoft.com/office/powerpoint/2012/main" userId="S::marcos.londono@syneoshealth.com::b074b7b4-6bd4-4b66-97f0-b254d54ec5b0" providerId="AD"/>
      </p:ext>
    </p:extLst>
  </p:cmAuthor>
  <p:cmAuthor id="2" name="Sgualdino, Jacopo" initials="SJ" lastIdx="58" clrIdx="1">
    <p:extLst>
      <p:ext uri="{19B8F6BF-5375-455C-9EA6-DF929625EA0E}">
        <p15:presenceInfo xmlns:p15="http://schemas.microsoft.com/office/powerpoint/2012/main" userId="S::jacopo.sgualdino@syneoshealth.com::991a77d0-b956-48a5-8dbd-51e0f5190386" providerId="AD"/>
      </p:ext>
    </p:extLst>
  </p:cmAuthor>
  <p:cmAuthor id="3" name="Simberg, Gideon" initials="SG" lastIdx="5" clrIdx="2">
    <p:extLst>
      <p:ext uri="{19B8F6BF-5375-455C-9EA6-DF929625EA0E}">
        <p15:presenceInfo xmlns:p15="http://schemas.microsoft.com/office/powerpoint/2012/main" userId="S::gideon.simberg@syneoshealth.com::79b0e029-96f5-4e43-ba80-2ac5a8ec9faf" providerId="AD"/>
      </p:ext>
    </p:extLst>
  </p:cmAuthor>
  <p:cmAuthor id="4" name="Laundon, George" initials="LG" lastIdx="4" clrIdx="3">
    <p:extLst>
      <p:ext uri="{19B8F6BF-5375-455C-9EA6-DF929625EA0E}">
        <p15:presenceInfo xmlns:p15="http://schemas.microsoft.com/office/powerpoint/2012/main" userId="S::george.laundon@syneoshealth.com::b397a5f5-db60-4f87-9bed-0dcf51d1673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BDDE7"/>
    <a:srgbClr val="AE1545"/>
    <a:srgbClr val="E1395E"/>
    <a:srgbClr val="E4205E"/>
    <a:srgbClr val="E6E6E6"/>
    <a:srgbClr val="00AF50"/>
    <a:srgbClr val="20376E"/>
    <a:srgbClr val="91C35D"/>
    <a:srgbClr val="000000"/>
    <a:srgbClr val="9C9C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056B64E-8672-E645-84B7-D02F26146511}" v="10" dt="2024-10-25T15:57:07.12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94"/>
  </p:normalViewPr>
  <p:slideViewPr>
    <p:cSldViewPr snapToGrid="0">
      <p:cViewPr varScale="1">
        <p:scale>
          <a:sx n="114" d="100"/>
          <a:sy n="114" d="100"/>
        </p:scale>
        <p:origin x="1016" y="328"/>
      </p:cViewPr>
      <p:guideLst>
        <p:guide orient="horz" pos="2160"/>
        <p:guide orient="horz" pos="3576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font" Target="fonts/font4.fntdata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3.fntdata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font" Target="fonts/font2.fntdata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1.fntdata"/><Relationship Id="rId14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rbour, Duncan" userId="f8c76c83-f09a-4702-8a60-e00215c8b89f" providerId="ADAL" clId="{E056B64E-8672-E645-84B7-D02F26146511}"/>
    <pc:docChg chg="undo custSel modSld delMainMaster modMainMaster">
      <pc:chgData name="Arbour, Duncan" userId="f8c76c83-f09a-4702-8a60-e00215c8b89f" providerId="ADAL" clId="{E056B64E-8672-E645-84B7-D02F26146511}" dt="2024-10-25T15:57:16.941" v="68" actId="478"/>
      <pc:docMkLst>
        <pc:docMk/>
      </pc:docMkLst>
      <pc:sldChg chg="addSp delSp modSp mod">
        <pc:chgData name="Arbour, Duncan" userId="f8c76c83-f09a-4702-8a60-e00215c8b89f" providerId="ADAL" clId="{E056B64E-8672-E645-84B7-D02F26146511}" dt="2024-10-25T15:56:54.119" v="60" actId="1035"/>
        <pc:sldMkLst>
          <pc:docMk/>
          <pc:sldMk cId="2955747281" sldId="2134960571"/>
        </pc:sldMkLst>
        <pc:spChg chg="del mod">
          <ac:chgData name="Arbour, Duncan" userId="f8c76c83-f09a-4702-8a60-e00215c8b89f" providerId="ADAL" clId="{E056B64E-8672-E645-84B7-D02F26146511}" dt="2024-10-25T15:52:33.747" v="34" actId="478"/>
          <ac:spMkLst>
            <pc:docMk/>
            <pc:sldMk cId="2955747281" sldId="2134960571"/>
            <ac:spMk id="2" creationId="{379581BC-F7B0-4386-93A9-5ED11043E45C}"/>
          </ac:spMkLst>
        </pc:spChg>
        <pc:spChg chg="mod">
          <ac:chgData name="Arbour, Duncan" userId="f8c76c83-f09a-4702-8a60-e00215c8b89f" providerId="ADAL" clId="{E056B64E-8672-E645-84B7-D02F26146511}" dt="2024-10-25T15:44:11.987" v="19"/>
          <ac:spMkLst>
            <pc:docMk/>
            <pc:sldMk cId="2955747281" sldId="2134960571"/>
            <ac:spMk id="3" creationId="{E1F5FD94-0039-4142-B892-29826466D7CD}"/>
          </ac:spMkLst>
        </pc:spChg>
        <pc:spChg chg="add del mod">
          <ac:chgData name="Arbour, Duncan" userId="f8c76c83-f09a-4702-8a60-e00215c8b89f" providerId="ADAL" clId="{E056B64E-8672-E645-84B7-D02F26146511}" dt="2024-10-25T15:52:36.941" v="35" actId="478"/>
          <ac:spMkLst>
            <pc:docMk/>
            <pc:sldMk cId="2955747281" sldId="2134960571"/>
            <ac:spMk id="6" creationId="{05C7D8FB-5FD5-F553-4E83-682BD698275B}"/>
          </ac:spMkLst>
        </pc:spChg>
        <pc:spChg chg="mod">
          <ac:chgData name="Arbour, Duncan" userId="f8c76c83-f09a-4702-8a60-e00215c8b89f" providerId="ADAL" clId="{E056B64E-8672-E645-84B7-D02F26146511}" dt="2024-10-25T15:50:14.836" v="23" actId="20577"/>
          <ac:spMkLst>
            <pc:docMk/>
            <pc:sldMk cId="2955747281" sldId="2134960571"/>
            <ac:spMk id="7" creationId="{17BDD4E3-C6E3-4722-8C35-6A84ED493E08}"/>
          </ac:spMkLst>
        </pc:spChg>
        <pc:spChg chg="mod">
          <ac:chgData name="Arbour, Duncan" userId="f8c76c83-f09a-4702-8a60-e00215c8b89f" providerId="ADAL" clId="{E056B64E-8672-E645-84B7-D02F26146511}" dt="2024-10-25T15:27:56.327" v="3" actId="2711"/>
          <ac:spMkLst>
            <pc:docMk/>
            <pc:sldMk cId="2955747281" sldId="2134960571"/>
            <ac:spMk id="8" creationId="{20F793C3-477E-4B08-9C88-7B195F3EA759}"/>
          </ac:spMkLst>
        </pc:spChg>
        <pc:spChg chg="add mod">
          <ac:chgData name="Arbour, Duncan" userId="f8c76c83-f09a-4702-8a60-e00215c8b89f" providerId="ADAL" clId="{E056B64E-8672-E645-84B7-D02F26146511}" dt="2024-10-25T15:56:54.119" v="60" actId="1035"/>
          <ac:spMkLst>
            <pc:docMk/>
            <pc:sldMk cId="2955747281" sldId="2134960571"/>
            <ac:spMk id="9" creationId="{F2ACCEAC-0929-23F7-BD4E-88081EE9522C}"/>
          </ac:spMkLst>
        </pc:spChg>
      </pc:sldChg>
      <pc:sldChg chg="addSp delSp modSp mod">
        <pc:chgData name="Arbour, Duncan" userId="f8c76c83-f09a-4702-8a60-e00215c8b89f" providerId="ADAL" clId="{E056B64E-8672-E645-84B7-D02F26146511}" dt="2024-10-25T15:57:00.970" v="63"/>
        <pc:sldMkLst>
          <pc:docMk/>
          <pc:sldMk cId="3412317317" sldId="2134960572"/>
        </pc:sldMkLst>
        <pc:spChg chg="del mod">
          <ac:chgData name="Arbour, Duncan" userId="f8c76c83-f09a-4702-8a60-e00215c8b89f" providerId="ADAL" clId="{E056B64E-8672-E645-84B7-D02F26146511}" dt="2024-10-25T15:52:41.661" v="36" actId="478"/>
          <ac:spMkLst>
            <pc:docMk/>
            <pc:sldMk cId="3412317317" sldId="2134960572"/>
            <ac:spMk id="2" creationId="{C85E6E9C-E8E4-8E05-0B2D-731AB8882378}"/>
          </ac:spMkLst>
        </pc:spChg>
        <pc:spChg chg="mod">
          <ac:chgData name="Arbour, Duncan" userId="f8c76c83-f09a-4702-8a60-e00215c8b89f" providerId="ADAL" clId="{E056B64E-8672-E645-84B7-D02F26146511}" dt="2024-10-25T15:44:11.987" v="19"/>
          <ac:spMkLst>
            <pc:docMk/>
            <pc:sldMk cId="3412317317" sldId="2134960572"/>
            <ac:spMk id="3" creationId="{3EC63C91-4DF7-ED03-A74B-67989725C6EA}"/>
          </ac:spMkLst>
        </pc:spChg>
        <pc:spChg chg="add del mod">
          <ac:chgData name="Arbour, Duncan" userId="f8c76c83-f09a-4702-8a60-e00215c8b89f" providerId="ADAL" clId="{E056B64E-8672-E645-84B7-D02F26146511}" dt="2024-10-25T15:57:00.045" v="62" actId="478"/>
          <ac:spMkLst>
            <pc:docMk/>
            <pc:sldMk cId="3412317317" sldId="2134960572"/>
            <ac:spMk id="4" creationId="{47F914CF-C908-1056-C0DC-45508B461DF4}"/>
          </ac:spMkLst>
        </pc:spChg>
        <pc:spChg chg="add mod">
          <ac:chgData name="Arbour, Duncan" userId="f8c76c83-f09a-4702-8a60-e00215c8b89f" providerId="ADAL" clId="{E056B64E-8672-E645-84B7-D02F26146511}" dt="2024-10-25T15:57:00.970" v="63"/>
          <ac:spMkLst>
            <pc:docMk/>
            <pc:sldMk cId="3412317317" sldId="2134960572"/>
            <ac:spMk id="6" creationId="{1069FB06-AA98-0839-17EC-52013C4FD3EB}"/>
          </ac:spMkLst>
        </pc:spChg>
        <pc:spChg chg="add del mod">
          <ac:chgData name="Arbour, Duncan" userId="f8c76c83-f09a-4702-8a60-e00215c8b89f" providerId="ADAL" clId="{E056B64E-8672-E645-84B7-D02F26146511}" dt="2024-10-25T15:52:42.936" v="37" actId="478"/>
          <ac:spMkLst>
            <pc:docMk/>
            <pc:sldMk cId="3412317317" sldId="2134960572"/>
            <ac:spMk id="6" creationId="{77506078-0588-34E5-CA78-F8C2A61486FA}"/>
          </ac:spMkLst>
        </pc:spChg>
        <pc:spChg chg="mod">
          <ac:chgData name="Arbour, Duncan" userId="f8c76c83-f09a-4702-8a60-e00215c8b89f" providerId="ADAL" clId="{E056B64E-8672-E645-84B7-D02F26146511}" dt="2024-10-25T15:50:20.501" v="27" actId="20577"/>
          <ac:spMkLst>
            <pc:docMk/>
            <pc:sldMk cId="3412317317" sldId="2134960572"/>
            <ac:spMk id="7" creationId="{24B87C40-023A-0A76-B6FE-73DB6C02223E}"/>
          </ac:spMkLst>
        </pc:spChg>
        <pc:spChg chg="add del mod">
          <ac:chgData name="Arbour, Duncan" userId="f8c76c83-f09a-4702-8a60-e00215c8b89f" providerId="ADAL" clId="{E056B64E-8672-E645-84B7-D02F26146511}" dt="2024-10-25T15:56:58.287" v="61" actId="478"/>
          <ac:spMkLst>
            <pc:docMk/>
            <pc:sldMk cId="3412317317" sldId="2134960572"/>
            <ac:spMk id="9" creationId="{80D706DE-6697-3349-07A0-241F8AB9CD23}"/>
          </ac:spMkLst>
        </pc:spChg>
      </pc:sldChg>
      <pc:sldChg chg="addSp delSp modSp mod">
        <pc:chgData name="Arbour, Duncan" userId="f8c76c83-f09a-4702-8a60-e00215c8b89f" providerId="ADAL" clId="{E056B64E-8672-E645-84B7-D02F26146511}" dt="2024-10-25T15:57:07.124" v="66"/>
        <pc:sldMkLst>
          <pc:docMk/>
          <pc:sldMk cId="2614804901" sldId="2134960573"/>
        </pc:sldMkLst>
        <pc:spChg chg="del mod">
          <ac:chgData name="Arbour, Duncan" userId="f8c76c83-f09a-4702-8a60-e00215c8b89f" providerId="ADAL" clId="{E056B64E-8672-E645-84B7-D02F26146511}" dt="2024-10-25T15:52:46.392" v="38" actId="478"/>
          <ac:spMkLst>
            <pc:docMk/>
            <pc:sldMk cId="2614804901" sldId="2134960573"/>
            <ac:spMk id="2" creationId="{C8BD425F-FD92-677F-B822-2E32ED646D04}"/>
          </ac:spMkLst>
        </pc:spChg>
        <pc:spChg chg="mod">
          <ac:chgData name="Arbour, Duncan" userId="f8c76c83-f09a-4702-8a60-e00215c8b89f" providerId="ADAL" clId="{E056B64E-8672-E645-84B7-D02F26146511}" dt="2024-10-25T15:44:11.987" v="19"/>
          <ac:spMkLst>
            <pc:docMk/>
            <pc:sldMk cId="2614804901" sldId="2134960573"/>
            <ac:spMk id="3" creationId="{21CED155-22CE-C636-E092-4E341FA09E7C}"/>
          </ac:spMkLst>
        </pc:spChg>
        <pc:spChg chg="add del mod">
          <ac:chgData name="Arbour, Duncan" userId="f8c76c83-f09a-4702-8a60-e00215c8b89f" providerId="ADAL" clId="{E056B64E-8672-E645-84B7-D02F26146511}" dt="2024-10-25T15:57:06.538" v="65" actId="478"/>
          <ac:spMkLst>
            <pc:docMk/>
            <pc:sldMk cId="2614804901" sldId="2134960573"/>
            <ac:spMk id="4" creationId="{739E5E7E-B685-C9CD-B264-A8E38E6AA17C}"/>
          </ac:spMkLst>
        </pc:spChg>
        <pc:spChg chg="add del mod">
          <ac:chgData name="Arbour, Duncan" userId="f8c76c83-f09a-4702-8a60-e00215c8b89f" providerId="ADAL" clId="{E056B64E-8672-E645-84B7-D02F26146511}" dt="2024-10-25T15:52:49.012" v="39" actId="478"/>
          <ac:spMkLst>
            <pc:docMk/>
            <pc:sldMk cId="2614804901" sldId="2134960573"/>
            <ac:spMk id="6" creationId="{D3DC018E-5352-FF10-9EF6-2913C59EE586}"/>
          </ac:spMkLst>
        </pc:spChg>
        <pc:spChg chg="add mod">
          <ac:chgData name="Arbour, Duncan" userId="f8c76c83-f09a-4702-8a60-e00215c8b89f" providerId="ADAL" clId="{E056B64E-8672-E645-84B7-D02F26146511}" dt="2024-10-25T15:57:07.124" v="66"/>
          <ac:spMkLst>
            <pc:docMk/>
            <pc:sldMk cId="2614804901" sldId="2134960573"/>
            <ac:spMk id="6" creationId="{FE5E1F15-29D9-5845-6839-76C09C4311C9}"/>
          </ac:spMkLst>
        </pc:spChg>
        <pc:spChg chg="mod">
          <ac:chgData name="Arbour, Duncan" userId="f8c76c83-f09a-4702-8a60-e00215c8b89f" providerId="ADAL" clId="{E056B64E-8672-E645-84B7-D02F26146511}" dt="2024-10-25T15:50:27.413" v="33" actId="1076"/>
          <ac:spMkLst>
            <pc:docMk/>
            <pc:sldMk cId="2614804901" sldId="2134960573"/>
            <ac:spMk id="7" creationId="{785BF9C3-8475-8DD9-0AE5-2A636AB54D26}"/>
          </ac:spMkLst>
        </pc:spChg>
        <pc:spChg chg="add del mod">
          <ac:chgData name="Arbour, Duncan" userId="f8c76c83-f09a-4702-8a60-e00215c8b89f" providerId="ADAL" clId="{E056B64E-8672-E645-84B7-D02F26146511}" dt="2024-10-25T15:57:04.877" v="64" actId="478"/>
          <ac:spMkLst>
            <pc:docMk/>
            <pc:sldMk cId="2614804901" sldId="2134960573"/>
            <ac:spMk id="9" creationId="{1171F16F-86D0-3D87-294E-0CC6823435E2}"/>
          </ac:spMkLst>
        </pc:spChg>
      </pc:sldChg>
      <pc:sldMasterChg chg="del">
        <pc:chgData name="Arbour, Duncan" userId="f8c76c83-f09a-4702-8a60-e00215c8b89f" providerId="ADAL" clId="{E056B64E-8672-E645-84B7-D02F26146511}" dt="2024-10-25T15:43:38.413" v="7" actId="2696"/>
        <pc:sldMasterMkLst>
          <pc:docMk/>
          <pc:sldMasterMk cId="832573619" sldId="2147483821"/>
        </pc:sldMasterMkLst>
      </pc:sldMasterChg>
      <pc:sldMasterChg chg="del">
        <pc:chgData name="Arbour, Duncan" userId="f8c76c83-f09a-4702-8a60-e00215c8b89f" providerId="ADAL" clId="{E056B64E-8672-E645-84B7-D02F26146511}" dt="2024-10-25T15:43:38.655" v="8" actId="2696"/>
        <pc:sldMasterMkLst>
          <pc:docMk/>
          <pc:sldMasterMk cId="4112173850" sldId="2147483869"/>
        </pc:sldMasterMkLst>
      </pc:sldMasterChg>
      <pc:sldMasterChg chg="del">
        <pc:chgData name="Arbour, Duncan" userId="f8c76c83-f09a-4702-8a60-e00215c8b89f" providerId="ADAL" clId="{E056B64E-8672-E645-84B7-D02F26146511}" dt="2024-10-25T15:43:39.060" v="9" actId="2696"/>
        <pc:sldMasterMkLst>
          <pc:docMk/>
          <pc:sldMasterMk cId="2858793504" sldId="2147483917"/>
        </pc:sldMasterMkLst>
      </pc:sldMasterChg>
      <pc:sldMasterChg chg="del">
        <pc:chgData name="Arbour, Duncan" userId="f8c76c83-f09a-4702-8a60-e00215c8b89f" providerId="ADAL" clId="{E056B64E-8672-E645-84B7-D02F26146511}" dt="2024-10-25T15:43:39.278" v="10" actId="2696"/>
        <pc:sldMasterMkLst>
          <pc:docMk/>
          <pc:sldMasterMk cId="2165807686" sldId="2147483965"/>
        </pc:sldMasterMkLst>
      </pc:sldMasterChg>
      <pc:sldMasterChg chg="del">
        <pc:chgData name="Arbour, Duncan" userId="f8c76c83-f09a-4702-8a60-e00215c8b89f" providerId="ADAL" clId="{E056B64E-8672-E645-84B7-D02F26146511}" dt="2024-10-25T15:43:39.499" v="11" actId="2696"/>
        <pc:sldMasterMkLst>
          <pc:docMk/>
          <pc:sldMasterMk cId="3045685217" sldId="2147484013"/>
        </pc:sldMasterMkLst>
      </pc:sldMasterChg>
      <pc:sldMasterChg chg="del">
        <pc:chgData name="Arbour, Duncan" userId="f8c76c83-f09a-4702-8a60-e00215c8b89f" providerId="ADAL" clId="{E056B64E-8672-E645-84B7-D02F26146511}" dt="2024-10-25T15:43:39.737" v="12" actId="2696"/>
        <pc:sldMasterMkLst>
          <pc:docMk/>
          <pc:sldMasterMk cId="2477298670" sldId="2147484061"/>
        </pc:sldMasterMkLst>
      </pc:sldMasterChg>
      <pc:sldMasterChg chg="del">
        <pc:chgData name="Arbour, Duncan" userId="f8c76c83-f09a-4702-8a60-e00215c8b89f" providerId="ADAL" clId="{E056B64E-8672-E645-84B7-D02F26146511}" dt="2024-10-25T15:43:40.971" v="13" actId="2696"/>
        <pc:sldMasterMkLst>
          <pc:docMk/>
          <pc:sldMasterMk cId="2156635478" sldId="2147484109"/>
        </pc:sldMasterMkLst>
      </pc:sldMasterChg>
      <pc:sldMasterChg chg="del">
        <pc:chgData name="Arbour, Duncan" userId="f8c76c83-f09a-4702-8a60-e00215c8b89f" providerId="ADAL" clId="{E056B64E-8672-E645-84B7-D02F26146511}" dt="2024-10-25T15:43:41.774" v="14" actId="2696"/>
        <pc:sldMasterMkLst>
          <pc:docMk/>
          <pc:sldMasterMk cId="1746287878" sldId="2147484157"/>
        </pc:sldMasterMkLst>
      </pc:sldMasterChg>
      <pc:sldMasterChg chg="delSp mod modSldLayout">
        <pc:chgData name="Arbour, Duncan" userId="f8c76c83-f09a-4702-8a60-e00215c8b89f" providerId="ADAL" clId="{E056B64E-8672-E645-84B7-D02F26146511}" dt="2024-10-25T15:57:16.941" v="68" actId="478"/>
        <pc:sldMasterMkLst>
          <pc:docMk/>
          <pc:sldMasterMk cId="2043687406" sldId="2147484414"/>
        </pc:sldMasterMkLst>
        <pc:spChg chg="del">
          <ac:chgData name="Arbour, Duncan" userId="f8c76c83-f09a-4702-8a60-e00215c8b89f" providerId="ADAL" clId="{E056B64E-8672-E645-84B7-D02F26146511}" dt="2024-10-25T15:57:16.941" v="68" actId="478"/>
          <ac:spMkLst>
            <pc:docMk/>
            <pc:sldMasterMk cId="2043687406" sldId="2147484414"/>
            <ac:spMk id="2" creationId="{00000000-0000-0000-0000-000000000000}"/>
          </ac:spMkLst>
        </pc:spChg>
        <pc:sldLayoutChg chg="delSp mod">
          <pc:chgData name="Arbour, Duncan" userId="f8c76c83-f09a-4702-8a60-e00215c8b89f" providerId="ADAL" clId="{E056B64E-8672-E645-84B7-D02F26146511}" dt="2024-10-25T15:57:13.952" v="67" actId="478"/>
          <pc:sldLayoutMkLst>
            <pc:docMk/>
            <pc:sldMasterMk cId="2043687406" sldId="2147484414"/>
            <pc:sldLayoutMk cId="3839625836" sldId="2147484466"/>
          </pc:sldLayoutMkLst>
          <pc:spChg chg="del">
            <ac:chgData name="Arbour, Duncan" userId="f8c76c83-f09a-4702-8a60-e00215c8b89f" providerId="ADAL" clId="{E056B64E-8672-E645-84B7-D02F26146511}" dt="2024-10-25T15:57:13.952" v="67" actId="478"/>
            <ac:spMkLst>
              <pc:docMk/>
              <pc:sldMasterMk cId="2043687406" sldId="2147484414"/>
              <pc:sldLayoutMk cId="3839625836" sldId="2147484466"/>
              <ac:spMk id="2" creationId="{00000000-0000-0000-0000-000000000000}"/>
            </ac:spMkLst>
          </pc:sp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891B42-7992-43C3-A15A-18DC7CF18A61}" type="datetimeFigureOut">
              <a:rPr lang="en-US" smtClean="0"/>
              <a:t>10/25/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5ACFFD-4E7F-436E-B857-3414E8417E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07063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5ACFFD-4E7F-436E-B857-3414E8417E86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0692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17A358-1529-3612-E144-1496A1AC02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A63D099-17E1-CFE1-0F72-C09ADC5411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B917D3-CEC3-E45A-59D8-F372869094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0AA182-F55B-F960-CA9E-A1C49924C17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5ACFFD-4E7F-436E-B857-3414E8417E86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74268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D6D7D0-A0F9-A0C5-976D-46A04D86DA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04E2C2-B4E1-B8BB-2BFE-09A987BC2D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0DA57A-6C2B-3AB2-7B99-359CD10923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91B4CB-A713-F835-78AB-29D042BCE75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5ACFFD-4E7F-436E-B857-3414E8417E86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33230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D568E7-61F5-D04E-995D-81EF41C01A2A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r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02870C6-A8EE-314B-AD75-859576EE0F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4426" y="6092825"/>
            <a:ext cx="9317988" cy="266093"/>
          </a:xfrm>
        </p:spPr>
        <p:txBody>
          <a:bodyPr bIns="36000"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 cap="none">
                <a:solidFill>
                  <a:schemeClr val="tx1"/>
                </a:solidFill>
                <a:latin typeface="+mj-lt"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j-lt"/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j-lt"/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j-lt"/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396258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sv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90890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67389" y="6387728"/>
            <a:ext cx="245186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D568E7-61F5-D04E-995D-81EF41C01A2A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r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4" name="Text Placeholder 73">
            <a:extLst>
              <a:ext uri="{FF2B5EF4-FFF2-40B4-BE49-F238E27FC236}">
                <a16:creationId xmlns:a16="http://schemas.microsoft.com/office/drawing/2014/main" id="{E4557987-9599-884A-89EF-5CAC6D60EB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9699" y="1582220"/>
            <a:ext cx="5262197" cy="45106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pic>
        <p:nvPicPr>
          <p:cNvPr id="80" name="Graphic 79">
            <a:extLst>
              <a:ext uri="{FF2B5EF4-FFF2-40B4-BE49-F238E27FC236}">
                <a16:creationId xmlns:a16="http://schemas.microsoft.com/office/drawing/2014/main" id="{C3E711B9-74EC-194C-8ED4-6F3049C21A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b="28803"/>
          <a:stretch/>
        </p:blipFill>
        <p:spPr>
          <a:xfrm>
            <a:off x="479311" y="6314008"/>
            <a:ext cx="938942" cy="247251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777DD1A-28DA-9F41-BB93-9F79CF31FA20}"/>
              </a:ext>
            </a:extLst>
          </p:cNvPr>
          <p:cNvCxnSpPr>
            <a:cxnSpLocks/>
          </p:cNvCxnSpPr>
          <p:nvPr userDrawn="1"/>
        </p:nvCxnSpPr>
        <p:spPr>
          <a:xfrm>
            <a:off x="11462024" y="6360469"/>
            <a:ext cx="0" cy="223794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3687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6" r:id="rId1"/>
  </p:sldLayoutIdLst>
  <p:hf hdr="0" ftr="0" dt="0"/>
  <p:txStyles>
    <p:titleStyle>
      <a:lvl1pPr algn="l" defTabSz="914446" rtl="0" eaLnBrk="1" latinLnBrk="0" hangingPunct="1">
        <a:lnSpc>
          <a:spcPct val="80000"/>
        </a:lnSpc>
        <a:spcBef>
          <a:spcPct val="0"/>
        </a:spcBef>
        <a:buNone/>
        <a:defRPr sz="3600" b="0" i="0" kern="1200" cap="none" baseline="0">
          <a:solidFill>
            <a:schemeClr val="accent2"/>
          </a:solidFill>
          <a:latin typeface="+mj-lt"/>
          <a:ea typeface="+mj-ea"/>
          <a:cs typeface="Calibri" panose="020F0502020204030204" pitchFamily="34" charset="0"/>
        </a:defRPr>
      </a:lvl1pPr>
    </p:titleStyle>
    <p:bodyStyle>
      <a:lvl1pPr marL="0" indent="0" algn="l" defTabSz="914446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tabLst/>
        <a:defRPr sz="2000" b="0" i="0" kern="1200" cap="none" baseline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0" indent="0" algn="l" defTabSz="914446" rtl="0" eaLnBrk="1" latinLnBrk="0" hangingPunct="1">
        <a:lnSpc>
          <a:spcPct val="100000"/>
        </a:lnSpc>
        <a:spcBef>
          <a:spcPts val="600"/>
        </a:spcBef>
        <a:spcAft>
          <a:spcPts val="200"/>
        </a:spcAft>
        <a:buFont typeface="Arial" panose="020B0604020202020204" pitchFamily="34" charset="0"/>
        <a:buNone/>
        <a:tabLst/>
        <a:defRPr sz="2000" b="0" i="0" kern="1200">
          <a:solidFill>
            <a:schemeClr val="accent2"/>
          </a:solidFill>
          <a:latin typeface="+mn-lt"/>
          <a:ea typeface="+mn-ea"/>
          <a:cs typeface="Calibri Light" panose="020F0302020204030204" pitchFamily="34" charset="0"/>
        </a:defRPr>
      </a:lvl2pPr>
      <a:lvl3pPr marL="296863" indent="-296863" algn="l" defTabSz="91444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20000"/>
        <a:buFont typeface="System Font Regular"/>
        <a:buChar char="—"/>
        <a:tabLst/>
        <a:defRPr sz="1600" b="0" i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0" indent="0" algn="l" defTabSz="914446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None/>
        <a:tabLst/>
        <a:defRPr sz="1600" b="0" i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0" indent="0" algn="l" defTabSz="914446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None/>
        <a:tabLst/>
        <a:defRPr sz="1600" b="0" i="0" kern="1200" baseline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0" indent="0" algn="l" defTabSz="914446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None/>
        <a:defRPr sz="1600" b="0" i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6pPr>
      <a:lvl7pPr marL="0" indent="0" algn="l" defTabSz="914446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None/>
        <a:defRPr sz="1600" b="0" i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7pPr>
      <a:lvl8pPr marL="0" indent="0" algn="l" defTabSz="914446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None/>
        <a:defRPr sz="1600" b="0" i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8pPr>
      <a:lvl9pPr marL="0" indent="0" algn="l" defTabSz="914446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None/>
        <a:defRPr sz="1600" b="0" i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2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8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4" pos="302">
          <p15:clr>
            <a:srgbClr val="F26B43"/>
          </p15:clr>
        </p15:guide>
        <p15:guide id="5" pos="784">
          <p15:clr>
            <a:srgbClr val="F26B43"/>
          </p15:clr>
        </p15:guide>
        <p15:guide id="7" pos="1381">
          <p15:clr>
            <a:srgbClr val="F26B43"/>
          </p15:clr>
        </p15:guide>
        <p15:guide id="8" pos="1502">
          <p15:clr>
            <a:srgbClr val="F26B43"/>
          </p15:clr>
        </p15:guide>
        <p15:guide id="9" pos="1982">
          <p15:clr>
            <a:srgbClr val="F26B43"/>
          </p15:clr>
        </p15:guide>
        <p15:guide id="10" pos="2099">
          <p15:clr>
            <a:srgbClr val="F26B43"/>
          </p15:clr>
        </p15:guide>
        <p15:guide id="11" pos="2582">
          <p15:clr>
            <a:srgbClr val="F26B43"/>
          </p15:clr>
        </p15:guide>
        <p15:guide id="12" pos="2699">
          <p15:clr>
            <a:srgbClr val="F26B43"/>
          </p15:clr>
        </p15:guide>
        <p15:guide id="13" pos="3180">
          <p15:clr>
            <a:srgbClr val="F26B43"/>
          </p15:clr>
        </p15:guide>
        <p15:guide id="14" pos="3300">
          <p15:clr>
            <a:srgbClr val="F26B43"/>
          </p15:clr>
        </p15:guide>
        <p15:guide id="15" pos="3780">
          <p15:clr>
            <a:srgbClr val="F26B43"/>
          </p15:clr>
        </p15:guide>
        <p15:guide id="16" pos="3898">
          <p15:clr>
            <a:srgbClr val="F26B43"/>
          </p15:clr>
        </p15:guide>
        <p15:guide id="17" pos="4379">
          <p15:clr>
            <a:srgbClr val="F26B43"/>
          </p15:clr>
        </p15:guide>
        <p15:guide id="18" pos="4500">
          <p15:clr>
            <a:srgbClr val="F26B43"/>
          </p15:clr>
        </p15:guide>
        <p15:guide id="19" pos="4979">
          <p15:clr>
            <a:srgbClr val="F26B43"/>
          </p15:clr>
        </p15:guide>
        <p15:guide id="20" pos="5096">
          <p15:clr>
            <a:srgbClr val="F26B43"/>
          </p15:clr>
        </p15:guide>
        <p15:guide id="21" pos="5578">
          <p15:clr>
            <a:srgbClr val="F26B43"/>
          </p15:clr>
        </p15:guide>
        <p15:guide id="22" pos="5696">
          <p15:clr>
            <a:srgbClr val="F26B43"/>
          </p15:clr>
        </p15:guide>
        <p15:guide id="23" pos="6180">
          <p15:clr>
            <a:srgbClr val="F26B43"/>
          </p15:clr>
        </p15:guide>
        <p15:guide id="24" pos="6296">
          <p15:clr>
            <a:srgbClr val="F26B43"/>
          </p15:clr>
        </p15:guide>
        <p15:guide id="25" pos="6778">
          <p15:clr>
            <a:srgbClr val="F26B43"/>
          </p15:clr>
        </p15:guide>
        <p15:guide id="26" pos="6896">
          <p15:clr>
            <a:srgbClr val="F26B43"/>
          </p15:clr>
        </p15:guide>
        <p15:guide id="27" pos="7378">
          <p15:clr>
            <a:srgbClr val="F26B43"/>
          </p15:clr>
        </p15:guide>
        <p15:guide id="30" orient="horz" pos="308">
          <p15:clr>
            <a:srgbClr val="F26B43"/>
          </p15:clr>
        </p15:guide>
        <p15:guide id="31" orient="horz" pos="990">
          <p15:clr>
            <a:srgbClr val="F26B43"/>
          </p15:clr>
        </p15:guide>
        <p15:guide id="32" orient="horz" pos="3838">
          <p15:clr>
            <a:srgbClr val="F26B43"/>
          </p15:clr>
        </p15:guide>
        <p15:guide id="33" orient="horz" pos="4080">
          <p15:clr>
            <a:srgbClr val="F26B43"/>
          </p15:clr>
        </p15:guide>
        <p15:guide id="34" pos="9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F5FD94-0039-4142-B892-29826466D7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D568E7-61F5-D04E-995D-81EF41C01A2A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r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A9249C-4521-4D9B-8355-E2B21B673F8F}"/>
              </a:ext>
            </a:extLst>
          </p:cNvPr>
          <p:cNvSpPr/>
          <p:nvPr/>
        </p:nvSpPr>
        <p:spPr>
          <a:xfrm>
            <a:off x="394449" y="1048026"/>
            <a:ext cx="11158142" cy="40535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Key Research Finding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7BDD4E3-C6E3-4722-8C35-6A84ED493E08}"/>
              </a:ext>
            </a:extLst>
          </p:cNvPr>
          <p:cNvSpPr/>
          <p:nvPr/>
        </p:nvSpPr>
        <p:spPr bwMode="auto">
          <a:xfrm>
            <a:off x="1994255" y="1502448"/>
            <a:ext cx="9558335" cy="480105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ource Sans Pro"/>
                <a:ea typeface="+mn-ea"/>
                <a:cs typeface="+mn-cs"/>
              </a:rPr>
              <a:t>Key_research_finding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0F793C3-477E-4B08-9C88-7B195F3EA759}"/>
              </a:ext>
            </a:extLst>
          </p:cNvPr>
          <p:cNvSpPr/>
          <p:nvPr/>
        </p:nvSpPr>
        <p:spPr bwMode="auto">
          <a:xfrm>
            <a:off x="394449" y="1499636"/>
            <a:ext cx="1493365" cy="4801054"/>
          </a:xfrm>
          <a:prstGeom prst="rect">
            <a:avLst/>
          </a:prstGeom>
          <a:solidFill>
            <a:schemeClr val="accent2"/>
          </a:solidFill>
          <a:ln w="12700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Journey_phas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2ACCEAC-0929-23F7-BD4E-88081EE9522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89699" y="70711"/>
            <a:ext cx="11607800" cy="358951"/>
          </a:xfrm>
          <a:prstGeom prst="rect">
            <a:avLst/>
          </a:prstGeom>
        </p:spPr>
        <p:txBody>
          <a:bodyPr/>
          <a:lstStyle/>
          <a:p>
            <a:r>
              <a:rPr lang="en-US" dirty="0" err="1"/>
              <a:t>Slide_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7472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86E8A9-5EAE-CE61-59F2-38449E0DE4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C63C91-4DF7-ED03-A74B-67989725C6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D568E7-61F5-D04E-995D-81EF41C01A2A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r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7FA833F-3794-D7F2-EF72-5845BBB0000D}"/>
              </a:ext>
            </a:extLst>
          </p:cNvPr>
          <p:cNvSpPr/>
          <p:nvPr/>
        </p:nvSpPr>
        <p:spPr>
          <a:xfrm>
            <a:off x="394449" y="1048026"/>
            <a:ext cx="11158142" cy="40535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Key Research Finding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4B87C40-023A-0A76-B6FE-73DB6C02223E}"/>
              </a:ext>
            </a:extLst>
          </p:cNvPr>
          <p:cNvSpPr/>
          <p:nvPr/>
        </p:nvSpPr>
        <p:spPr bwMode="auto">
          <a:xfrm>
            <a:off x="1994255" y="1502448"/>
            <a:ext cx="9558335" cy="480105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Key_research_finding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EB2D4EA-91FF-B404-BDD3-93F9F34F2EE3}"/>
              </a:ext>
            </a:extLst>
          </p:cNvPr>
          <p:cNvSpPr/>
          <p:nvPr/>
        </p:nvSpPr>
        <p:spPr bwMode="auto">
          <a:xfrm>
            <a:off x="394449" y="1499636"/>
            <a:ext cx="1493365" cy="4801054"/>
          </a:xfrm>
          <a:prstGeom prst="rect">
            <a:avLst/>
          </a:prstGeom>
          <a:solidFill>
            <a:schemeClr val="accent2"/>
          </a:solidFill>
          <a:ln w="12700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Journey_phas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069FB06-AA98-0839-17EC-52013C4FD3E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89699" y="70711"/>
            <a:ext cx="11607800" cy="358951"/>
          </a:xfrm>
          <a:prstGeom prst="rect">
            <a:avLst/>
          </a:prstGeom>
        </p:spPr>
        <p:txBody>
          <a:bodyPr/>
          <a:lstStyle/>
          <a:p>
            <a:r>
              <a:rPr lang="en-US" dirty="0" err="1"/>
              <a:t>Slide_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23173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1F2CF5-BCFD-F778-F4F2-949E313A9C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1CED155-22CE-C636-E092-4E341FA09E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D568E7-61F5-D04E-995D-81EF41C01A2A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r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73D5F6-38DA-364E-427F-D01ECF4FA432}"/>
              </a:ext>
            </a:extLst>
          </p:cNvPr>
          <p:cNvSpPr/>
          <p:nvPr/>
        </p:nvSpPr>
        <p:spPr>
          <a:xfrm>
            <a:off x="394449" y="1048026"/>
            <a:ext cx="11158142" cy="40535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Key Research Finding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85BF9C3-8475-8DD9-0AE5-2A636AB54D26}"/>
              </a:ext>
            </a:extLst>
          </p:cNvPr>
          <p:cNvSpPr/>
          <p:nvPr/>
        </p:nvSpPr>
        <p:spPr bwMode="auto">
          <a:xfrm>
            <a:off x="1994255" y="1502448"/>
            <a:ext cx="9558335" cy="480105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Key_research_finding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E442F30-3805-FC16-1130-92DFB1B53AB7}"/>
              </a:ext>
            </a:extLst>
          </p:cNvPr>
          <p:cNvSpPr/>
          <p:nvPr/>
        </p:nvSpPr>
        <p:spPr bwMode="auto">
          <a:xfrm>
            <a:off x="394449" y="1499636"/>
            <a:ext cx="1493365" cy="4801054"/>
          </a:xfrm>
          <a:prstGeom prst="rect">
            <a:avLst/>
          </a:prstGeom>
          <a:solidFill>
            <a:schemeClr val="accent2"/>
          </a:solidFill>
          <a:ln w="12700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Journey_phas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E5E1F15-29D9-5845-6839-76C09C4311C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89699" y="70711"/>
            <a:ext cx="11607800" cy="358951"/>
          </a:xfrm>
          <a:prstGeom prst="rect">
            <a:avLst/>
          </a:prstGeom>
        </p:spPr>
        <p:txBody>
          <a:bodyPr/>
          <a:lstStyle/>
          <a:p>
            <a:r>
              <a:rPr lang="en-US" dirty="0" err="1"/>
              <a:t>Slide_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48049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73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0_Office Theme">
  <a:themeElements>
    <a:clrScheme name="ObsEva 2020 - 3">
      <a:dk1>
        <a:srgbClr val="585858"/>
      </a:dk1>
      <a:lt1>
        <a:srgbClr val="FFFFFF"/>
      </a:lt1>
      <a:dk2>
        <a:srgbClr val="000000"/>
      </a:dk2>
      <a:lt2>
        <a:srgbClr val="FFFFFF"/>
      </a:lt2>
      <a:accent1>
        <a:srgbClr val="303B50"/>
      </a:accent1>
      <a:accent2>
        <a:srgbClr val="E4205E"/>
      </a:accent2>
      <a:accent3>
        <a:srgbClr val="20376E"/>
      </a:accent3>
      <a:accent4>
        <a:srgbClr val="00AF50"/>
      </a:accent4>
      <a:accent5>
        <a:srgbClr val="91C35D"/>
      </a:accent5>
      <a:accent6>
        <a:srgbClr val="9C9C9C"/>
      </a:accent6>
      <a:hlink>
        <a:srgbClr val="9C9C9C"/>
      </a:hlink>
      <a:folHlink>
        <a:srgbClr val="9C9C9C"/>
      </a:folHlink>
    </a:clrScheme>
    <a:fontScheme name="Office 2">
      <a:majorFont>
        <a:latin typeface="Calibri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Calibri Light"/>
        <a:ea typeface=""/>
        <a:cs typeface=""/>
        <a:font script="Jpan" typeface="ＭＳ Ｐ明朝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AED054BE-AFC8-0B4B-AF2C-3AC08DD6F4BF}" vid="{8933AAD9-6E9D-8740-A8C6-2F215A31E39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0046_eb2022 xmlns="6dc91c6c-5e53-4c8c-a3fb-9caeae119bcb" xsi:nil="true"/>
    <lcf76f155ced4ddcb4097134ff3c332f xmlns="6dc91c6c-5e53-4c8c-a3fb-9caeae119bcb">
      <Terms xmlns="http://schemas.microsoft.com/office/infopath/2007/PartnerControls"/>
    </lcf76f155ced4ddcb4097134ff3c332f>
    <ServiceArea xmlns="6dc91c6c-5e53-4c8c-a3fb-9caeae119bcb" xsi:nil="true"/>
    <_x004a_an2022 xmlns="6dc91c6c-5e53-4c8c-a3fb-9caeae119bcb" xsi:nil="true"/>
    <TaxCatchAll xmlns="dc6f90a6-ed64-4feb-b6b9-579dc713ce07" xsi:nil="true"/>
    <Item xmlns="6dc91c6c-5e53-4c8c-a3fb-9caeae119bcb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B8969B1D85ED468B4A32524C8EB467" ma:contentTypeVersion="16" ma:contentTypeDescription="Create a new document." ma:contentTypeScope="" ma:versionID="a3b12349738556000ad8855ecd2c393f">
  <xsd:schema xmlns:xsd="http://www.w3.org/2001/XMLSchema" xmlns:xs="http://www.w3.org/2001/XMLSchema" xmlns:p="http://schemas.microsoft.com/office/2006/metadata/properties" xmlns:ns2="6dc91c6c-5e53-4c8c-a3fb-9caeae119bcb" xmlns:ns3="dc6f90a6-ed64-4feb-b6b9-579dc713ce07" targetNamespace="http://schemas.microsoft.com/office/2006/metadata/properties" ma:root="true" ma:fieldsID="9a7505257c32dcded87cf9bed7810987" ns2:_="" ns3:_="">
    <xsd:import namespace="6dc91c6c-5e53-4c8c-a3fb-9caeae119bcb"/>
    <xsd:import namespace="dc6f90a6-ed64-4feb-b6b9-579dc713ce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Item" minOccurs="0"/>
                <xsd:element ref="ns2:ServiceArea" minOccurs="0"/>
                <xsd:element ref="ns2:_x004a_an2022" minOccurs="0"/>
                <xsd:element ref="ns2:_x0046_eb2022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c91c6c-5e53-4c8c-a3fb-9caeae119b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Item" ma:index="12" nillable="true" ma:displayName="Item" ma:format="Dropdown" ma:internalName="Item">
      <xsd:simpleType>
        <xsd:restriction base="dms:Text">
          <xsd:maxLength value="255"/>
        </xsd:restriction>
      </xsd:simpleType>
    </xsd:element>
    <xsd:element name="ServiceArea" ma:index="13" nillable="true" ma:displayName="Service Area" ma:format="Dropdown" ma:internalName="ServiceArea">
      <xsd:simpleType>
        <xsd:restriction base="dms:Text">
          <xsd:maxLength value="255"/>
        </xsd:restriction>
      </xsd:simpleType>
    </xsd:element>
    <xsd:element name="_x004a_an2022" ma:index="14" nillable="true" ma:displayName="Jan 2022" ma:format="Dropdown" ma:internalName="_x004a_an2022" ma:percentage="FALSE">
      <xsd:simpleType>
        <xsd:restriction base="dms:Number"/>
      </xsd:simpleType>
    </xsd:element>
    <xsd:element name="_x0046_eb2022" ma:index="15" nillable="true" ma:displayName="Feb 2022" ma:format="Dropdown" ma:internalName="_x0046_eb2022" ma:percentage="FALSE">
      <xsd:simpleType>
        <xsd:restriction base="dms:Number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8aec5887-daab-4316-8b81-7ef05b7293c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6f90a6-ed64-4feb-b6b9-579dc713ce0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353440a7-24eb-42e4-b70c-d3747ca73f13}" ma:internalName="TaxCatchAll" ma:showField="CatchAllData" ma:web="dc6f90a6-ed64-4feb-b6b9-579dc713ce0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29EFE3B-063C-44FB-A41B-368C8DBBC7F7}">
  <ds:schemaRefs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www.w3.org/XML/1998/namespace"/>
    <ds:schemaRef ds:uri="6dc91c6c-5e53-4c8c-a3fb-9caeae119bcb"/>
    <ds:schemaRef ds:uri="http://schemas.microsoft.com/office/2006/metadata/properties"/>
    <ds:schemaRef ds:uri="http://purl.org/dc/elements/1.1/"/>
    <ds:schemaRef ds:uri="http://schemas.microsoft.com/office/infopath/2007/PartnerControls"/>
    <ds:schemaRef ds:uri="dc6f90a6-ed64-4feb-b6b9-579dc713ce07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D8028161-C513-42F7-802C-D4B318E22B3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dc91c6c-5e53-4c8c-a3fb-9caeae119bcb"/>
    <ds:schemaRef ds:uri="dc6f90a6-ed64-4feb-b6b9-579dc713ce0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CB840CC-CBE4-4CF6-AB29-BDA7377F3DA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41</TotalTime>
  <Words>48</Words>
  <Application>Microsoft Macintosh PowerPoint</Application>
  <PresentationFormat>Widescreen</PresentationFormat>
  <Paragraphs>18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rial</vt:lpstr>
      <vt:lpstr>System Font Regular</vt:lpstr>
      <vt:lpstr>Calibri</vt:lpstr>
      <vt:lpstr>Source Sans Pro</vt:lpstr>
      <vt:lpstr>Calibri Light</vt:lpstr>
      <vt:lpstr>30_Office Theme</vt:lpstr>
      <vt:lpstr>think-cell Slide</vt:lpstr>
      <vt:lpstr>Slide_title</vt:lpstr>
      <vt:lpstr>Slide_title</vt:lpstr>
      <vt:lpstr>Slide_titl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S Patient Journey: Yselty</dc:title>
  <dc:creator>Bickerstaffe, Harry</dc:creator>
  <cp:lastModifiedBy>Arbour, Duncan</cp:lastModifiedBy>
  <cp:revision>5</cp:revision>
  <dcterms:created xsi:type="dcterms:W3CDTF">2021-11-23T10:54:20Z</dcterms:created>
  <dcterms:modified xsi:type="dcterms:W3CDTF">2024-10-25T15:57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C4B7768E2F304BA5CAD7417D65FD7100C92A2AAC0332A94CB59EF2E8D8D31C56</vt:lpwstr>
  </property>
</Properties>
</file>